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5"/>
  </p:sldMasterIdLst>
  <p:notesMasterIdLst>
    <p:notesMasterId r:id="rId26"/>
  </p:notesMasterIdLst>
  <p:handoutMasterIdLst>
    <p:handoutMasterId r:id="rId27"/>
  </p:handoutMasterIdLst>
  <p:sldIdLst>
    <p:sldId id="256" r:id="rId6"/>
    <p:sldId id="257" r:id="rId7"/>
    <p:sldId id="272" r:id="rId8"/>
    <p:sldId id="258" r:id="rId9"/>
    <p:sldId id="259" r:id="rId10"/>
    <p:sldId id="262" r:id="rId11"/>
    <p:sldId id="275" r:id="rId12"/>
    <p:sldId id="261" r:id="rId13"/>
    <p:sldId id="260" r:id="rId14"/>
    <p:sldId id="263" r:id="rId15"/>
    <p:sldId id="264" r:id="rId16"/>
    <p:sldId id="273" r:id="rId17"/>
    <p:sldId id="274" r:id="rId18"/>
    <p:sldId id="265" r:id="rId19"/>
    <p:sldId id="266" r:id="rId20"/>
    <p:sldId id="267" r:id="rId21"/>
    <p:sldId id="268" r:id="rId22"/>
    <p:sldId id="269" r:id="rId23"/>
    <p:sldId id="270" r:id="rId24"/>
    <p:sldId id="271" r:id="rId25"/>
  </p:sldIdLst>
  <p:sldSz cx="9144000" cy="5143500" type="screen16x9"/>
  <p:notesSz cx="6797675" cy="9926638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927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34" autoAdjust="0"/>
  </p:normalViewPr>
  <p:slideViewPr>
    <p:cSldViewPr showGuides="1">
      <p:cViewPr varScale="1">
        <p:scale>
          <a:sx n="151" d="100"/>
          <a:sy n="151" d="100"/>
        </p:scale>
        <p:origin x="456" y="132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258" y="258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October 7, 2017</a:t>
            </a:fld>
            <a:r>
              <a:rPr lang="en-US" dirty="0"/>
              <a:t> | Title of presenta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October 7, 2017</a:t>
            </a:fld>
            <a:r>
              <a:rPr lang="en-US" dirty="0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</a:t>
            </a:r>
            <a:fld id="{C5F468E3-E2B5-4048-B5A0-A2E0E1BF2E6A}" type="datetime4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October 7, 2017</a:t>
            </a:fld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 | Title of presentation</a:t>
            </a: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62" name="Text Placeholder 6"/>
          <p:cNvSpPr txBox="1">
            <a:spLocks/>
          </p:cNvSpPr>
          <p:nvPr userDrawn="1"/>
        </p:nvSpPr>
        <p:spPr bwMode="gray">
          <a:xfrm>
            <a:off x="6840372" y="195486"/>
            <a:ext cx="1080000" cy="57600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lIns="0" rIns="0" anchor="ctr"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lient logo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[delete this grey box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f not required]</a:t>
            </a:r>
          </a:p>
        </p:txBody>
      </p:sp>
      <p:sp>
        <p:nvSpPr>
          <p:cNvPr id="4" name="VCT_Marker_ID_4" hidden="1"/>
          <p:cNvSpPr/>
          <p:nvPr userDrawn="1"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llup.com/178667/gallup-world-poll-work.aspx" TargetMode="External"/><Relationship Id="rId2" Type="http://schemas.openxmlformats.org/officeDocument/2006/relationships/hyperlink" Target="http://worldhappiness.report/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kaggle.com/benhamner/indicators-in-data/data" TargetMode="External"/><Relationship Id="rId5" Type="http://schemas.openxmlformats.org/officeDocument/2006/relationships/hyperlink" Target="https://data.worldbank.org/data-catalog/world-development-indicators" TargetMode="External"/><Relationship Id="rId4" Type="http://schemas.openxmlformats.org/officeDocument/2006/relationships/hyperlink" Target="https://www.kaggle.com/unsdsn/world-happiness/data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err="1" smtClean="0"/>
              <a:t>Increasein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9533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566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0708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897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2170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89742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2282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157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3551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11" name="Text Placeholder 10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8437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8"/>
          </p:nvPr>
        </p:nvSpPr>
        <p:spPr/>
      </p:sp>
      <p:sp>
        <p:nvSpPr>
          <p:cNvPr id="10" name="Text Placeholder 9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34"/>
          </p:nvPr>
        </p:nvSpPr>
        <p:spPr/>
      </p:sp>
      <p:sp>
        <p:nvSpPr>
          <p:cNvPr id="15" name="Text Placeholder 14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40"/>
          </p:nvPr>
        </p:nvSpPr>
        <p:spPr/>
      </p:sp>
      <p:sp>
        <p:nvSpPr>
          <p:cNvPr id="21" name="Text Placeholder 20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924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0259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8844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464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16519" y="915988"/>
            <a:ext cx="4910962" cy="381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2065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49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1400" b="1" dirty="0" smtClean="0"/>
              <a:t>World Happiness Scor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Used regularly by the </a:t>
            </a:r>
            <a:r>
              <a:rPr lang="en-US" sz="1400" dirty="0" smtClean="0">
                <a:hlinkClick r:id="rId2"/>
              </a:rPr>
              <a:t>World Happiness Report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</a:t>
            </a:r>
            <a:r>
              <a:rPr lang="en-US" sz="1400" dirty="0" smtClean="0"/>
              <a:t>actual happiness </a:t>
            </a:r>
            <a:r>
              <a:rPr lang="en-US" sz="1400" dirty="0"/>
              <a:t>scores and rankings </a:t>
            </a:r>
            <a:r>
              <a:rPr lang="en-US" sz="1400" dirty="0" smtClean="0"/>
              <a:t>come from </a:t>
            </a:r>
            <a:r>
              <a:rPr lang="en-US" sz="1400" dirty="0"/>
              <a:t>the </a:t>
            </a:r>
            <a:r>
              <a:rPr lang="en-US" sz="1400" dirty="0">
                <a:hlinkClick r:id="rId3"/>
              </a:rPr>
              <a:t>Gallup World Poll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e exact wording of the “happiness” question is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“Please imagine a ladder, with steps numbered </a:t>
            </a:r>
            <a:r>
              <a:rPr lang="en-US" sz="1400" dirty="0" smtClean="0"/>
              <a:t>from 0 </a:t>
            </a:r>
            <a:r>
              <a:rPr lang="en-US" sz="1400" dirty="0"/>
              <a:t>at the bottom to 10 at the top. The top of the ladder represents the </a:t>
            </a:r>
            <a:r>
              <a:rPr lang="en-US" sz="1400" dirty="0" smtClean="0"/>
              <a:t>best possible </a:t>
            </a:r>
            <a:r>
              <a:rPr lang="en-US" sz="1400" dirty="0"/>
              <a:t>life for you and the bottom of the ladder represents the worst </a:t>
            </a:r>
            <a:r>
              <a:rPr lang="en-US" sz="1400" dirty="0" smtClean="0"/>
              <a:t>possible life </a:t>
            </a:r>
            <a:r>
              <a:rPr lang="en-US" sz="1400" dirty="0"/>
              <a:t>for you. On which step of the ladder would you say you personally feel </a:t>
            </a:r>
            <a:r>
              <a:rPr lang="en-US" sz="1400" dirty="0" smtClean="0"/>
              <a:t>you stand </a:t>
            </a:r>
            <a:r>
              <a:rPr lang="en-US" sz="1400" dirty="0"/>
              <a:t>at this time?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World Happiness Scores and rankings for 2015 posted on </a:t>
            </a:r>
            <a:r>
              <a:rPr lang="en-US" sz="1400" dirty="0" err="1" smtClean="0">
                <a:hlinkClick r:id="rId4"/>
              </a:rPr>
              <a:t>Kaggle</a:t>
            </a:r>
            <a:r>
              <a:rPr lang="en-US" sz="1400" dirty="0" smtClean="0"/>
              <a:t>.</a:t>
            </a:r>
          </a:p>
          <a:p>
            <a:pPr>
              <a:spcBef>
                <a:spcPts val="600"/>
              </a:spcBef>
            </a:pPr>
            <a:r>
              <a:rPr lang="en-US" sz="1400" b="1" dirty="0" smtClean="0"/>
              <a:t>World Development Indicato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re collected and published yearly by the </a:t>
            </a:r>
            <a:r>
              <a:rPr lang="en-US" sz="1400" dirty="0" smtClean="0">
                <a:hlinkClick r:id="rId5"/>
              </a:rPr>
              <a:t>World Bank</a:t>
            </a:r>
            <a:r>
              <a:rPr lang="en-US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his app used the data on 74 indicators from 1993 to 2014 posted on </a:t>
            </a:r>
            <a:r>
              <a:rPr lang="en-US" sz="1400" dirty="0" err="1" smtClean="0">
                <a:hlinkClick r:id="rId6"/>
              </a:rPr>
              <a:t>Kaggle</a:t>
            </a:r>
            <a:r>
              <a:rPr lang="en-US" sz="1400" dirty="0" smtClean="0"/>
              <a:t>.</a:t>
            </a:r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World </a:t>
            </a:r>
            <a:r>
              <a:rPr lang="en-US" dirty="0"/>
              <a:t>Happiness </a:t>
            </a:r>
            <a:r>
              <a:rPr lang="en-US" dirty="0" smtClean="0"/>
              <a:t>Score and World Development Indicator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R has was published in 2012, 2013, 2015, and 2016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63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46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ld Happiness Re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266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68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Blank.potx" id="{0D16F9E6-8197-4EE0-84AE-DC493EAFB91A}" vid="{39FE2D74-D784-4C9E-9E0C-76796B574284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ExpertContentDocumentLibrary" ma:contentTypeID="0x010100D0AFC36ACFD74F7BA0C77049996D405C00FF49417D29D72E4D9B5054C9AC26121A" ma:contentTypeVersion="0" ma:contentTypeDescription="" ma:contentTypeScope="" ma:versionID="6360a5f94c527d9e7ec2ba7d0336b460">
  <xsd:schema xmlns:xsd="http://www.w3.org/2001/XMLSchema" xmlns:xs="http://www.w3.org/2001/XMLSchema" xmlns:p="http://schemas.microsoft.com/office/2006/metadata/properties" xmlns:ns2="92833d98-8015-4e73-bff4-7fc7bdc77146" xmlns:ns3="72acfbc7-13d6-4e32-8fe0-794e2d8bf5d1" xmlns:ns4="f2684793-112f-4fec-9fa7-c952a73f86d3" targetNamespace="http://schemas.microsoft.com/office/2006/metadata/properties" ma:root="true" ma:fieldsID="4dd616222a85d58f18a73fd7fa601ae7" ns2:_="" ns3:_="" ns4:_="">
    <xsd:import namespace="92833d98-8015-4e73-bff4-7fc7bdc77146"/>
    <xsd:import namespace="72acfbc7-13d6-4e32-8fe0-794e2d8bf5d1"/>
    <xsd:import namespace="f2684793-112f-4fec-9fa7-c952a73f86d3"/>
    <xsd:element name="properties">
      <xsd:complexType>
        <xsd:sequence>
          <xsd:element name="documentManagement">
            <xsd:complexType>
              <xsd:all>
                <xsd:element ref="ns2:ExpertContentTaxHTField0" minOccurs="0"/>
                <xsd:element ref="ns2:FunctionalAreaTaxHTField0" minOccurs="0"/>
                <xsd:element ref="ns3:ProductsTaxHTField0" minOccurs="0"/>
                <xsd:element ref="ns2:IndustriesTaxHTField0" minOccurs="0"/>
                <xsd:element ref="ns2:ClientsTaxHTField0" minOccurs="0"/>
                <xsd:element ref="ns2:CountriesTaxHTField0" minOccurs="0"/>
                <xsd:element ref="ns2:gNetLanguagesTaxHTField0" minOccurs="0"/>
                <xsd:element ref="ns2:gNetNextKeyDocument"/>
                <xsd:element ref="ns4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833d98-8015-4e73-bff4-7fc7bdc77146" elementFormDefault="qualified">
    <xsd:import namespace="http://schemas.microsoft.com/office/2006/documentManagement/types"/>
    <xsd:import namespace="http://schemas.microsoft.com/office/infopath/2007/PartnerControls"/>
    <xsd:element name="ExpertContentTaxHTField0" ma:index="9" nillable="true" ma:taxonomy="true" ma:internalName="ExpertContentTaxHTField0" ma:taxonomyFieldName="ExpertContent" ma:displayName="ExpertContent" ma:fieldId="{2e50cadb-926e-4b9a-81cc-b2fc0d2a2e8b}" ma:taxonomyMulti="true" ma:sspId="8fb135ec-df78-4771-b246-ee3879de3bc6" ma:termSetId="d12b150b-4d9a-4c34-8e5a-626529ef7d5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unctionalAreaTaxHTField0" ma:index="11" nillable="true" ma:taxonomy="true" ma:internalName="FunctionalAreaTaxHTField0" ma:taxonomyFieldName="FunctionalArea" ma:displayName="Functional Area" ma:fieldId="{5addb8ce-8b98-4715-b99a-23c7b3b4de54}" ma:taxonomyMulti="true" ma:sspId="8fb135ec-df78-4771-b246-ee3879de3bc6" ma:termSetId="034b5738-649c-45b4-805f-e334dfe593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dustriesTaxHTField0" ma:index="15" nillable="true" ma:taxonomy="true" ma:internalName="IndustriesTaxHTField0" ma:taxonomyFieldName="Industries" ma:displayName="Industries" ma:fieldId="{d0887a73-b12b-4166-9bd3-ad77ad44a61f}" ma:taxonomyMulti="true" ma:sspId="8fb135ec-df78-4771-b246-ee3879de3bc6" ma:termSetId="5a885248-49da-421b-8a8b-00dd6ab23a4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lientsTaxHTField0" ma:index="17" nillable="true" ma:taxonomy="true" ma:internalName="ClientsTaxHTField0" ma:taxonomyFieldName="Clients" ma:displayName="Clients" ma:fieldId="{5af12878-23aa-47d7-b623-ebafe040e8cf}" ma:taxonomyMulti="true" ma:sspId="8fb135ec-df78-4771-b246-ee3879de3bc6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untriesTaxHTField0" ma:index="18" nillable="true" ma:taxonomy="true" ma:internalName="CountriesTaxHTField0" ma:taxonomyFieldName="Countries" ma:displayName="Countries" ma:fieldId="{d9e72649-4232-47f2-b7f4-bdcc13b6dc2c}" ma:taxonomyMulti="true" ma:sspId="8fb135ec-df78-4771-b246-ee3879de3bc6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LanguagesTaxHTField0" ma:index="21" nillable="true" ma:taxonomy="true" ma:internalName="gNetLanguagesTaxHTField0" ma:taxonomyFieldName="gNetLanguages" ma:displayName="Languages" ma:fieldId="{24fb12aa-1f3c-4882-98e8-a7edf33f2f19}" ma:taxonomyMulti="true" ma:sspId="8fb135ec-df78-4771-b246-ee3879de3bc6" ma:termSetId="b5ee173a-9bdd-41a2-a4ac-db00794e06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NextKeyDocument" ma:index="22" ma:displayName="Key Document" ma:default="No" ma:description="Documents that are of high importance" ma:internalName="gNetNextKeyDocument">
      <xsd:simpleType>
        <xsd:restriction base="dms:Choice">
          <xsd:enumeration value="Yes"/>
          <xsd:enumeration value="No"/>
        </xsd:restriction>
      </xsd:simpleType>
    </xsd:element>
    <xsd:element name="TaxCatchAllLabel" ma:index="24" nillable="true" ma:displayName="Taxonomy Catch All Column1" ma:hidden="true" ma:list="{e9390788-7e97-4405-b41d-ec2f65580922}" ma:internalName="TaxCatchAllLabel" ma:readOnly="true" ma:showField="CatchAllDataLabel" ma:web="3ad493c7-26de-4ac2-94db-ffb4b239bb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acfbc7-13d6-4e32-8fe0-794e2d8bf5d1" elementFormDefault="qualified">
    <xsd:import namespace="http://schemas.microsoft.com/office/2006/documentManagement/types"/>
    <xsd:import namespace="http://schemas.microsoft.com/office/infopath/2007/PartnerControls"/>
    <xsd:element name="ProductsTaxHTField0" ma:index="13" nillable="true" ma:taxonomy="true" ma:internalName="ProductsTaxHTField0" ma:taxonomyFieldName="Products" ma:displayName="Products" ma:fieldId="{d0bc3ba7-8911-43ef-8d13-b9b9962042ef}" ma:taxonomyMulti="true" ma:sspId="8fb135ec-df78-4771-b246-ee3879de3bc6" ma:termSetId="cbb9bdaf-82c2-446c-b699-94acba818cb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84793-112f-4fec-9fa7-c952a73f86d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internalName="TaxCatchAll" ma:showField="CatchAllDat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684793-112f-4fec-9fa7-c952a73f86d3">
      <Value>8</Value>
      <Value>6</Value>
      <Value>5</Value>
      <Value>4</Value>
      <Value>3</Value>
      <Value>2</Value>
    </TaxCatchAll>
    <ProductsTaxHTField0 xmlns="72acfbc7-13d6-4e32-8fe0-794e2d8bf5d1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roductsTaxHTField0>
    <gNetLanguag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gNetLanguagesTaxHTField0>
    <Indus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IndustriesTaxHTField0>
    <ExpertContentTaxHTField0 xmlns="92833d98-8015-4e73-bff4-7fc7bdc77146">
      <Terms xmlns="http://schemas.microsoft.com/office/infopath/2007/PartnerControls"/>
    </ExpertContentTaxHTField0>
    <FunctionalArea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 ＆ Communication</TermName>
          <TermId xmlns="http://schemas.microsoft.com/office/infopath/2007/PartnerControls">e229bc12-4e91-4e55-875a-11b465ca0b0f</TermId>
        </TermInfo>
      </Terms>
    </FunctionalAreaTaxHTField0>
    <Coun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CountriesTaxHTField0>
    <Client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ClientsTaxHTField0>
    <gNetNextKeyDocument xmlns="92833d98-8015-4e73-bff4-7fc7bdc77146">Yes</gNetNextKeyDocument>
  </documentManagement>
</p:properties>
</file>

<file path=customXml/item4.xml><?xml version="1.0" encoding="utf-8"?>
<?mso-contentType ?>
<SharedContentType xmlns="Microsoft.SharePoint.Taxonomy.ContentTypeSync" SourceId="8fb135ec-df78-4771-b246-ee3879de3bc6" ContentTypeId="0x010100D0AFC36ACFD74F7BA0C77049996D405C" PreviousValue="false"/>
</file>

<file path=customXml/itemProps1.xml><?xml version="1.0" encoding="utf-8"?>
<ds:datastoreItem xmlns:ds="http://schemas.openxmlformats.org/officeDocument/2006/customXml" ds:itemID="{AA007D11-31CB-4D9E-BAA6-32EAC90085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833d98-8015-4e73-bff4-7fc7bdc77146"/>
    <ds:schemaRef ds:uri="72acfbc7-13d6-4e32-8fe0-794e2d8bf5d1"/>
    <ds:schemaRef ds:uri="f2684793-112f-4fec-9fa7-c952a73f86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3044BF-A435-4394-AA7A-C500776C88E9}">
  <ds:schemaRefs>
    <ds:schemaRef ds:uri="http://purl.org/dc/elements/1.1/"/>
    <ds:schemaRef ds:uri="http://www.w3.org/XML/1998/namespace"/>
    <ds:schemaRef ds:uri="http://purl.org/dc/terms/"/>
    <ds:schemaRef ds:uri="f2684793-112f-4fec-9fa7-c952a73f86d3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72acfbc7-13d6-4e32-8fe0-794e2d8bf5d1"/>
    <ds:schemaRef ds:uri="92833d98-8015-4e73-bff4-7fc7bdc77146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F3F5683F-DE5A-4128-8136-79393BDF5936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1</Words>
  <Application>Microsoft Office PowerPoint</Application>
  <PresentationFormat>On-screen Show (16:9)</PresentationFormat>
  <Paragraphs>14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ourier New</vt:lpstr>
      <vt:lpstr>Wingdings</vt:lpstr>
      <vt:lpstr>GfK Group</vt:lpstr>
      <vt:lpstr>think-cell Slide</vt:lpstr>
      <vt:lpstr>Increasein</vt:lpstr>
      <vt:lpstr>PowerPoint Presentation</vt:lpstr>
      <vt:lpstr>PowerPoint Presentation</vt:lpstr>
      <vt:lpstr>PowerPoint Presentation</vt:lpstr>
      <vt:lpstr>Appendix</vt:lpstr>
      <vt:lpstr>About World Happiness Score and World Development Indicators</vt:lpstr>
      <vt:lpstr>PowerPoint Presentation</vt:lpstr>
      <vt:lpstr>World Happiness Re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[Subtitle of presentation]</dc:subject>
  <dc:creator/>
  <cp:keywords/>
  <cp:lastModifiedBy/>
  <cp:revision>1</cp:revision>
  <dcterms:created xsi:type="dcterms:W3CDTF">2017-10-07T19:03:34Z</dcterms:created>
  <dcterms:modified xsi:type="dcterms:W3CDTF">2017-10-07T22:1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0AFC36ACFD74F7BA0C77049996D405C00FF49417D29D72E4D9B5054C9AC26121A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79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_SharedFileIndex">
    <vt:lpwstr/>
  </property>
  <property fmtid="{D5CDD505-2E9C-101B-9397-08002B2CF9AE}" pid="16" name="_SourceUrl">
    <vt:lpwstr/>
  </property>
  <property fmtid="{D5CDD505-2E9C-101B-9397-08002B2CF9AE}" pid="17" name="Products">
    <vt:lpwstr>5;#Not applicable|15480a47-f0f1-4795-a643-bf3b2e95805c</vt:lpwstr>
  </property>
  <property fmtid="{D5CDD505-2E9C-101B-9397-08002B2CF9AE}" pid="18" name="gNetLanguages">
    <vt:lpwstr>8;#English|914398da-6a81-430b-8d1c-6a7bd1227f71</vt:lpwstr>
  </property>
</Properties>
</file>